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0"/>
  </p:notesMasterIdLst>
  <p:handoutMasterIdLst>
    <p:handoutMasterId r:id="rId11"/>
  </p:handoutMasterIdLst>
  <p:sldIdLst>
    <p:sldId id="703" r:id="rId6"/>
    <p:sldId id="693" r:id="rId7"/>
    <p:sldId id="702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03"/>
            <p14:sldId id="693"/>
            <p14:sldId id="702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C5446D-3210-4742-8B4E-A81A34A7B2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7359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61485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1569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933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449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5894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3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182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373682"/>
            <a:ext cx="5941512" cy="1077239"/>
          </a:xfrm>
        </p:spPr>
        <p:txBody>
          <a:bodyPr/>
          <a:lstStyle/>
          <a:p>
            <a:r>
              <a:rPr lang="en-US" sz="36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avigate through JupyterLab notebook Interface</a:t>
            </a:r>
            <a:endParaRPr lang="en-GB" sz="7200" dirty="0">
              <a:solidFill>
                <a:srgbClr val="0070C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2270096"/>
            <a:ext cx="11593146" cy="3176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JupyterLab and/or Jupyter notebook is a web application that allows you to create and share documents that contain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live code (e.g. Python code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explanatory text (written in markdown syntax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A2BAD2-6166-4C78-B791-00BCFBF2032D}"/>
              </a:ext>
            </a:extLst>
          </p:cNvPr>
          <p:cNvSpPr txBox="1"/>
          <p:nvPr/>
        </p:nvSpPr>
        <p:spPr>
          <a:xfrm>
            <a:off x="186322" y="239704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7</TotalTime>
  <Words>63</Words>
  <Application>Microsoft Office PowerPoint</Application>
  <PresentationFormat>Widescreen</PresentationFormat>
  <Paragraphs>8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Symbol</vt:lpstr>
      <vt:lpstr>2_Office Theme</vt:lpstr>
      <vt:lpstr>3_Office Theme</vt:lpstr>
      <vt:lpstr>think-cell Slide</vt:lpstr>
      <vt:lpstr>Introduction to Programming in Python</vt:lpstr>
      <vt:lpstr>Navigate through JupyterLab notebook Interfa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4</cp:revision>
  <dcterms:created xsi:type="dcterms:W3CDTF">2020-03-16T19:15:12Z</dcterms:created>
  <dcterms:modified xsi:type="dcterms:W3CDTF">2024-05-03T12:0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